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503" r:id="rId2"/>
    <p:sldId id="484" r:id="rId3"/>
    <p:sldId id="485" r:id="rId4"/>
    <p:sldId id="486" r:id="rId5"/>
    <p:sldId id="487" r:id="rId6"/>
    <p:sldId id="488" r:id="rId7"/>
    <p:sldId id="314" r:id="rId8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vertBarState="maximized">
    <p:restoredLeft sz="12017" autoAdjust="0"/>
    <p:restoredTop sz="97356" autoAdjust="0"/>
  </p:normalViewPr>
  <p:slideViewPr>
    <p:cSldViewPr>
      <p:cViewPr varScale="1">
        <p:scale>
          <a:sx n="141" d="100"/>
          <a:sy n="141" d="100"/>
        </p:scale>
        <p:origin x="-126" y="-96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2/22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33.xml"/><Relationship Id="rId7" Type="http://schemas.openxmlformats.org/officeDocument/2006/relationships/image" Target="../media/image18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37.xml"/><Relationship Id="rId7" Type="http://schemas.openxmlformats.org/officeDocument/2006/relationships/image" Target="../media/image23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</a:t>
            </a:r>
            <a:r>
              <a:rPr lang="en-US" dirty="0" smtClean="0"/>
              <a:t>Integratio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Antiderivatives</a:t>
            </a:r>
            <a:r>
              <a:rPr lang="en-US" dirty="0" smtClean="0"/>
              <a:t> &amp; Indefinite Integral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ndefinite Integration</a:t>
            </a:r>
          </a:p>
        </p:txBody>
      </p:sp>
      <p:sp>
        <p:nvSpPr>
          <p:cNvPr id="11" name="Rechteck 10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Integration yielding Inverse Trigonometric Functions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de-DE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irst Rules </a:t>
            </a:r>
            <a:r>
              <a:rPr lang="de-DE" sz="1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of</a:t>
            </a:r>
            <a:r>
              <a:rPr lang="de-DE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Integration</a:t>
            </a:r>
          </a:p>
        </p:txBody>
      </p:sp>
      <p:sp>
        <p:nvSpPr>
          <p:cNvPr id="14" name="Rechteck 13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 smtClean="0"/>
              <a:t>Antiderivatives</a:t>
            </a:r>
            <a:r>
              <a:rPr lang="en-US" sz="1000" dirty="0" smtClean="0"/>
              <a:t> &amp; </a:t>
            </a:r>
            <a:r>
              <a:rPr lang="en-US" sz="1000" dirty="0" smtClean="0"/>
              <a:t>                  Indefinite </a:t>
            </a:r>
            <a:r>
              <a:rPr lang="en-US" sz="1000" dirty="0" smtClean="0"/>
              <a:t>Integrals</a:t>
            </a:r>
            <a:endParaRPr lang="en-US" sz="1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ap:</a:t>
            </a:r>
            <a:br>
              <a:rPr lang="en-US" dirty="0" smtClean="0"/>
            </a:br>
            <a:r>
              <a:rPr lang="en-US" dirty="0" smtClean="0"/>
              <a:t>Implicit differentiation of inverse functions</a:t>
            </a:r>
            <a:endParaRPr lang="en-US" dirty="0"/>
          </a:p>
        </p:txBody>
      </p:sp>
      <p:pic>
        <p:nvPicPr>
          <p:cNvPr id="4" name="Picture 2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3366" y="1038801"/>
            <a:ext cx="2172225" cy="2037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8" name="Grafik 2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9" y="1203599"/>
            <a:ext cx="5317166" cy="3630588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Gerade Verbindung 12"/>
          <p:cNvCxnSpPr/>
          <p:nvPr/>
        </p:nvCxnSpPr>
        <p:spPr>
          <a:xfrm flipH="1">
            <a:off x="4788024" y="3645673"/>
            <a:ext cx="1008112" cy="0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" name="Gerade Verbindung 15"/>
          <p:cNvCxnSpPr/>
          <p:nvPr/>
        </p:nvCxnSpPr>
        <p:spPr>
          <a:xfrm>
            <a:off x="4788024" y="3645673"/>
            <a:ext cx="0" cy="576064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7" name="Gerade Verbindung 16"/>
          <p:cNvCxnSpPr/>
          <p:nvPr/>
        </p:nvCxnSpPr>
        <p:spPr>
          <a:xfrm flipH="1">
            <a:off x="4788024" y="4221737"/>
            <a:ext cx="1008112" cy="0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Gerade Verbindung 18"/>
          <p:cNvCxnSpPr/>
          <p:nvPr/>
        </p:nvCxnSpPr>
        <p:spPr>
          <a:xfrm flipH="1">
            <a:off x="6228184" y="4319702"/>
            <a:ext cx="1224136" cy="0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" name="Gerade Verbindung 23"/>
          <p:cNvCxnSpPr/>
          <p:nvPr/>
        </p:nvCxnSpPr>
        <p:spPr>
          <a:xfrm flipH="1">
            <a:off x="6228184" y="4895766"/>
            <a:ext cx="1224136" cy="0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Gerade Verbindung 24"/>
          <p:cNvCxnSpPr/>
          <p:nvPr/>
        </p:nvCxnSpPr>
        <p:spPr>
          <a:xfrm>
            <a:off x="7452320" y="4319702"/>
            <a:ext cx="0" cy="576064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y determining the derivative of the inverse sine function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1"/>
            <a:ext cx="7059479" cy="332399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we can apply this for integration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1131590"/>
            <a:ext cx="2160240" cy="216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216024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9" y="1203599"/>
            <a:ext cx="4143628" cy="1406583"/>
          </a:xfrm>
          <a:prstGeom prst="rect">
            <a:avLst/>
          </a:prstGeom>
          <a:noFill/>
          <a:ln/>
          <a:effectLst/>
        </p:spPr>
      </p:pic>
      <p:sp>
        <p:nvSpPr>
          <p:cNvPr id="9" name="Freeform 37"/>
          <p:cNvSpPr>
            <a:spLocks/>
          </p:cNvSpPr>
          <p:nvPr/>
        </p:nvSpPr>
        <p:spPr bwMode="auto">
          <a:xfrm rot="18900000" flipH="1">
            <a:off x="653007" y="1880924"/>
            <a:ext cx="362165" cy="674582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flat" cmpd="sng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467543" y="1203598"/>
            <a:ext cx="446244" cy="293564"/>
          </a:xfrm>
          <a:prstGeom prst="rect">
            <a:avLst/>
          </a:prstGeom>
          <a:noFill/>
          <a:ln/>
          <a:effectLst/>
        </p:spPr>
      </p:pic>
      <p:pic>
        <p:nvPicPr>
          <p:cNvPr id="13" name="Grafik 12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467543" y="3147814"/>
            <a:ext cx="470993" cy="12969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y determining the derivative of the </a:t>
            </a:r>
            <a:r>
              <a:rPr lang="en-US" smtClean="0"/>
              <a:t>inverse tangent </a:t>
            </a:r>
            <a:r>
              <a:rPr lang="en-US" dirty="0" smtClean="0"/>
              <a:t>function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1"/>
            <a:ext cx="7060577" cy="295802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we can apply this for integration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1131590"/>
            <a:ext cx="2160000" cy="21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Freeform 37"/>
          <p:cNvSpPr>
            <a:spLocks/>
          </p:cNvSpPr>
          <p:nvPr/>
        </p:nvSpPr>
        <p:spPr bwMode="auto">
          <a:xfrm rot="18900000" flipH="1">
            <a:off x="653007" y="1880924"/>
            <a:ext cx="362165" cy="674582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flat" cmpd="sng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611560" y="1347613"/>
            <a:ext cx="342144" cy="273043"/>
          </a:xfrm>
          <a:prstGeom prst="rect">
            <a:avLst/>
          </a:prstGeom>
          <a:noFill/>
          <a:ln/>
          <a:effectLst/>
        </p:spPr>
      </p:pic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23527" y="2859783"/>
            <a:ext cx="498990" cy="129939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3419872" y="1131590"/>
            <a:ext cx="5472608" cy="216024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491879" y="1203598"/>
            <a:ext cx="3995646" cy="135931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36,97"/>
  <p:tag name="ORIGINALWIDTH" val="3391,826"/>
  <p:tag name="LATEXADDIN" val="\documentclass{article}\pagestyle{empty}&#10;\usepackage{amsmath}&#10;\usepackage{amsfonts}&#10;\usepackage{amssymb}&#10;\begin{document}&#10;\begin{minipage}{9.6 cm}&#10;{\sffamily{&#10;Let $f(x) = y$ be one-to-one and continuously differentiable with&#10;$$&#10;f'(x) \, \, = \, \, y'&#10;$$&#10;and let $f^{-1}(y) = x$ be its inverse and also continuously differentiable.&#10;Then, by implicit differentiation&#10;$$&#10;\frac{\textrm{d}}{\textrm{d} x} \left( f^{-1}(y) \right) \, \, = \, \, \left( \frac{\textrm{d}}{\textrm{d} x} f^{-1}(y) \right) \cdot y' \, \, = \, \, 1&#10;$$&#10;Hence\\[-6mm]&#10;\begin{eqnarray*}&#10;\frac{\textrm{d}}{\textrm{d} x} f^{-1}(y) &amp; = &amp; \frac{1}{y'} \, \, = \, \, \frac{1}{f'(x)} \\[2mm]&#10;&amp; = &amp;&#10;\frac{1}{f'\left( f^{-1}(y) \right)}  \, .&#10;\end{eqnarray*}&#10;}}&#10;\end{minipage}&#10;\end{document}"/>
  <p:tag name="IGUANATEXSIZE" val="20"/>
  <p:tag name="IGUANATEXCURSOR" val="65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07,012"/>
  <p:tag name="ORIGINALWIDTH" val="4456,693"/>
  <p:tag name="LATEXADDIN" val="\documentclass{article}\pagestyle{empty}&#10;\usepackage{amsmath}&#10;\usepackage{amsfonts}&#10;\usepackage{amssymb}&#10;\begin{document}&#10;\begin{minipage}{12.6 cm}&#10;{\sffamily{&#10;Let $y = \arcsin(\frac{x}{a}) = \sin^{-1}(\frac{x}{a})$. Then, $x = a \sin(y)$. With implicit differentiation, we obtain&#10;$$&#10;1 \, \, = \, \, \frac{\textrm{d}}{\textrm{d} x} \left( a \sin(y) \right) \, \, = \, \, a \cos(y) \cdot y'&#10;$$&#10;or&#10;$$&#10;y' \, \, = \, \, \frac{1}{a \cos(y)} \, .&#10;$$&#10;Next, applying the Pythagorean identity $\sin^2(y) + \cos^2(y) = 1$, we have&#10;\begin{eqnarray*}&#10;\cos(y) &amp; = &amp; \sqrt{1 - \sin^2(y)} \, \, = \, \, \sqrt{1 - \left( \sin \left( \arcsin\left(\tfrac{x}{a}\right) \right) \right)^2 } \\[2mm]&#10;&amp; = &amp;&#10;\sqrt{1 - \left(\tfrac{x}{a}\right)^2 } \, \, = \, \, \tfrac{1}{a} \sqrt{a^2-x^2} \, .&#10;\end{eqnarray*}&#10;}}&#10;\end{minipage}&#10;\end{document}"/>
  <p:tag name="IGUANATEXSIZE" val="20"/>
  <p:tag name="IGUANATEXCURSOR" val="70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66,1418"/>
  <p:tag name="ORIGINALWIDTH" val="2641,92"/>
  <p:tag name="LATEXADDIN" val="\documentclass{article}\pagestyle{empty}&#10;\usepackage{amsmath}&#10;\usepackage{amsfonts}&#10;\usepackage{amssymb}&#10;\begin{document}&#10;\begin{minipage}{9.6 cm}&#10;{\sffamily{&#10;Hence,&#10;$$&#10;y' \, \, = \, \, \frac{1}{\sqrt{a^2 - x^2}} \, ,&#10;$$&#10;and thus&#10;$$&#10;\int \frac{1}{\sqrt{a^2 - x^2}} \textrm{d} x \, \, = \, \, \arcsin\left( \tfrac{x}{a} \right) + C \, .&#10;$$&#10;}}&#10;\end{minipage}&#10;\end{document}"/>
  <p:tag name="IGUANATEXSIZE" val="20"/>
  <p:tag name="IGUANATEXCURSOR" val="3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83,4646"/>
  <p:tag name="ORIGINALWIDTH" val="446,1942"/>
  <p:tag name="LATEXADDIN" val="\documentclass{article}\pagestyle{empty}&#10;\usepackage{amsmath}&#10;\usepackage{amsfonts}&#10;\usepackage{amssymb}&#10;\begin{document}&#10;\begin{minipage}{9.6 cm}&#10;{\sffamily{&#10;$$&#10;\frac{1}{\sqrt{1 - x^2}}&#10;$$&#10;}}&#10;\end{minipage}&#10;\end{document}"/>
  <p:tag name="IGUANATEXSIZE" val="20"/>
  <p:tag name="IGUANATEXCURSOR" val="17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470,9412"/>
  <p:tag name="LATEXADDIN" val="\documentclass{article}\pagestyle{empty}&#10;\usepackage{amsmath}&#10;\usepackage{amsfonts}&#10;\usepackage{amssymb}&#10;\begin{document}&#10;\begin{minipage}{9.6 cm}&#10;{\sffamily{&#10;$$&#10;\arcsin(x)&#10;$$&#10;}}&#10;\end{minipage}&#10;\end{document}"/>
  <p:tag name="IGUANATEXSIZE" val="20"/>
  <p:tag name="IGUANATEXCURSOR" val="1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97,038"/>
  <p:tag name="ORIGINALWIDTH" val="4456,693"/>
  <p:tag name="LATEXADDIN" val="\documentclass{article}\pagestyle{empty}&#10;\usepackage{amsmath}&#10;\usepackage{amsfonts}&#10;\usepackage{amssymb}&#10;\begin{document}&#10;\begin{minipage}{12.6 cm}&#10;{\sffamily{&#10;Let $y = \arctan(x) = \tan^{-1}(x)$. Then, $x = \sin(y)$. With implicit differentiation, we obtain&#10;$$&#10;1 \, \, = \, \, \frac{\textrm{d}}{\textrm{d} x} \left( \tan(y) \right) \, \, = \, \, \sec^2(y) \cdot y'&#10;$$&#10;or&#10;$$&#10;y' \, \, = \, \, \frac{1}{\sec^2(y)} \, .&#10;$$&#10;Next, applying the trigonometric identity $\sec^2(y) = 1 + \tan^2(y)$, we have&#10;\begin{eqnarray*}&#10;\sec^2(y) &amp; = &amp; 1 + \tan^2(y) \, \, = \, \, 1 + \left( \tan\left( \arctan(x) \right) \right)^2 \\[2mm]&#10;&amp; = &amp;&#10;1 + x^2 \, .&#10;\end{eqnarray*}&#10;}}&#10;\end{minipage}&#10;\end{document}"/>
  <p:tag name="IGUANATEXSIZE" val="20"/>
  <p:tag name="IGUANATEXCURSOR" val="63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3,2171"/>
  <p:tag name="ORIGINALWIDTH" val="341,9572"/>
  <p:tag name="LATEXADDIN" val="\documentclass{article}\pagestyle{empty}&#10;\usepackage{amsmath}&#10;\usepackage{amsfonts}&#10;\usepackage{amssymb}&#10;\begin{document}&#10;\begin{minipage}{9.6 cm}&#10;{\sffamily{&#10;$$&#10;\frac{1}{1 + x^2}&#10;$$&#10;}}&#10;\end{minipage}&#10;\end{document}"/>
  <p:tag name="IGUANATEXSIZE" val="20"/>
  <p:tag name="IGUANATEXCURSOR" val="17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497,9378"/>
  <p:tag name="LATEXADDIN" val="\documentclass{article}\pagestyle{empty}&#10;\usepackage{amsmath}&#10;\usepackage{amsfonts}&#10;\usepackage{amssymb}&#10;\begin{document}&#10;\begin{minipage}{9.6 cm}&#10;{\sffamily{&#10;$$&#10;\arctan(x)&#10;$$&#10;}}&#10;\end{minipage}&#10;\end{document}"/>
  <p:tag name="IGUANATEXSIZE" val="20"/>
  <p:tag name="IGUANATEXCURSOR" val="1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36,8954"/>
  <p:tag name="ORIGINALWIDTH" val="2546,682"/>
  <p:tag name="LATEXADDIN" val="\documentclass{article}\pagestyle{empty}&#10;\usepackage{amsmath}&#10;\usepackage{amsfonts}&#10;\usepackage{amssymb}&#10;\begin{document}&#10;\begin{minipage}{9.6 cm}&#10;{\sffamily{&#10;Hence,&#10;$$&#10;y' \, \, = \, \, \frac{1}{1 + x^2} \, ,&#10;$$&#10;and thus&#10;$$&#10;\int \frac{1}{1 + x^2} \textrm{d} x \, \, = \, \, \arctan(x) + C \, .&#10;$$&#10;}}&#10;\end{minipage}&#10;\end{document}"/>
  <p:tag name="IGUANATEXSIZE" val="20"/>
  <p:tag name="IGUANATEXCURSOR" val="2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7</Words>
  <Application>Microsoft Office PowerPoint</Application>
  <PresentationFormat>Bildschirmpräsentation (16:9)</PresentationFormat>
  <Paragraphs>14</Paragraphs>
  <Slides>7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8" baseType="lpstr">
      <vt:lpstr>Larissa-Design</vt:lpstr>
      <vt:lpstr>Calculus I for MGMT – Integration Antiderivatives &amp; Indefinite Integrals</vt:lpstr>
      <vt:lpstr>Recap: Implicit differentiation of inverse functions</vt:lpstr>
      <vt:lpstr>By determining the derivative of the inverse sine function …</vt:lpstr>
      <vt:lpstr>… we can apply this for integration</vt:lpstr>
      <vt:lpstr>By determining the derivative of the inverse tangent function …</vt:lpstr>
      <vt:lpstr>… we can apply this for integration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36</cp:revision>
  <dcterms:created xsi:type="dcterms:W3CDTF">2020-04-04T18:50:50Z</dcterms:created>
  <dcterms:modified xsi:type="dcterms:W3CDTF">2023-02-22T11:44:39Z</dcterms:modified>
</cp:coreProperties>
</file>